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9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C7067-E29F-D383-256D-8C2AD141B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1CF366-179E-619B-D3D7-BF3735CF60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080189-D1F2-52D3-C856-F859DF70D2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B43F98-4B4A-1F78-7DF0-E516E9BADD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8F9D5-63B9-4088-A0EA-655CDC6DDC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468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EB2BEC-F2D5-3B4A-9F3D-E6BC4F812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80F1ED-5F60-94AE-72FC-ACA4FFED5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Discussion Points Layout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7661C63-29C8-79FE-FB86-B9C39DF49A4E}"/>
              </a:ext>
            </a:extLst>
          </p:cNvPr>
          <p:cNvGrpSpPr/>
          <p:nvPr/>
        </p:nvGrpSpPr>
        <p:grpSpPr>
          <a:xfrm>
            <a:off x="977900" y="2457896"/>
            <a:ext cx="16370300" cy="5657404"/>
            <a:chOff x="977900" y="2819400"/>
            <a:chExt cx="16370300" cy="565740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3CB4BEC-26A6-FAF4-AD96-C384B73C013F}"/>
                </a:ext>
              </a:extLst>
            </p:cNvPr>
            <p:cNvGrpSpPr/>
            <p:nvPr/>
          </p:nvGrpSpPr>
          <p:grpSpPr>
            <a:xfrm>
              <a:off x="977900" y="2819400"/>
              <a:ext cx="16370300" cy="2647504"/>
              <a:chOff x="977900" y="2819400"/>
              <a:chExt cx="16370300" cy="2647504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AC8FB9D-32AF-74E5-0D34-329C32333BBB}"/>
                  </a:ext>
                </a:extLst>
              </p:cNvPr>
              <p:cNvGrpSpPr/>
              <p:nvPr/>
            </p:nvGrpSpPr>
            <p:grpSpPr>
              <a:xfrm>
                <a:off x="977900" y="2819400"/>
                <a:ext cx="7843428" cy="2647504"/>
                <a:chOff x="822042" y="2746661"/>
                <a:chExt cx="7843428" cy="2647504"/>
              </a:xfrm>
            </p:grpSpPr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608068E4-A01D-2907-2761-0DE0CDC369C7}"/>
                    </a:ext>
                  </a:extLst>
                </p:cNvPr>
                <p:cNvSpPr/>
                <p:nvPr/>
              </p:nvSpPr>
              <p:spPr>
                <a:xfrm>
                  <a:off x="822042" y="2746661"/>
                  <a:ext cx="1350170" cy="135017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600" b="1" dirty="0">
                      <a:solidFill>
                        <a:schemeClr val="bg1"/>
                      </a:solidFill>
                      <a:latin typeface="Arial" panose="020B0604020202020204" pitchFamily="34" charset="0"/>
                    </a:rPr>
                    <a:t>01</a:t>
                  </a:r>
                </a:p>
              </p:txBody>
            </p:sp>
            <p:grpSp>
              <p:nvGrpSpPr>
                <p:cNvPr id="3" name="Group 2">
                  <a:extLst>
                    <a:ext uri="{FF2B5EF4-FFF2-40B4-BE49-F238E27FC236}">
                      <a16:creationId xmlns:a16="http://schemas.microsoft.com/office/drawing/2014/main" id="{77063B03-2A66-F256-52C0-4855CCD68DB5}"/>
                    </a:ext>
                  </a:extLst>
                </p:cNvPr>
                <p:cNvGrpSpPr/>
                <p:nvPr/>
              </p:nvGrpSpPr>
              <p:grpSpPr>
                <a:xfrm>
                  <a:off x="2423460" y="3013361"/>
                  <a:ext cx="6242010" cy="2380804"/>
                  <a:chOff x="2423460" y="3013361"/>
                  <a:chExt cx="6242010" cy="2380804"/>
                </a:xfrm>
              </p:grpSpPr>
              <p:sp>
                <p:nvSpPr>
                  <p:cNvPr id="18" name="Google Shape;598;p33">
                    <a:extLst>
                      <a:ext uri="{FF2B5EF4-FFF2-40B4-BE49-F238E27FC236}">
                        <a16:creationId xmlns:a16="http://schemas.microsoft.com/office/drawing/2014/main" id="{1B7DD0B0-627F-F952-41F9-DB9C2A7A365D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2423460" y="3013361"/>
                    <a:ext cx="6242010" cy="35394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t" anchorCtr="0">
                    <a:sp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chivo Black"/>
                      <a:buNone/>
                      <a:defRPr sz="2000" b="0" i="0" u="none" strike="noStrike" cap="none">
                        <a:solidFill>
                          <a:schemeClr val="dk1"/>
                        </a:solidFill>
                        <a:latin typeface="Archivo Black"/>
                        <a:ea typeface="Archivo Black"/>
                        <a:cs typeface="Archivo Black"/>
                        <a:sym typeface="Archivo Black"/>
                      </a:defRPr>
                    </a:lvl1pPr>
                    <a:lvl2pPr marR="0" lvl="1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defTabSz="1371600">
                      <a:lnSpc>
                        <a:spcPct val="90000"/>
                      </a:lnSpc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151F29"/>
                      </a:buClr>
                      <a:defRPr/>
                    </a:pPr>
                    <a:r>
                      <a:rPr lang="en-IN" b="1" kern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Heading</a:t>
                    </a:r>
                  </a:p>
                </p:txBody>
              </p:sp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C9DA36CE-3DFA-86D2-617B-427C33781B7D}"/>
                      </a:ext>
                    </a:extLst>
                  </p:cNvPr>
                  <p:cNvSpPr txBox="1"/>
                  <p:nvPr/>
                </p:nvSpPr>
                <p:spPr>
                  <a:xfrm>
                    <a:off x="2423460" y="3470561"/>
                    <a:ext cx="6242010" cy="192360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</p:txBody>
              </p:sp>
            </p:grp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F6576DA0-4A68-3336-5125-EA627D9D3374}"/>
                  </a:ext>
                </a:extLst>
              </p:cNvPr>
              <p:cNvGrpSpPr/>
              <p:nvPr/>
            </p:nvGrpSpPr>
            <p:grpSpPr>
              <a:xfrm>
                <a:off x="9504772" y="2819400"/>
                <a:ext cx="7843428" cy="2647504"/>
                <a:chOff x="822042" y="2746661"/>
                <a:chExt cx="7843428" cy="2647504"/>
              </a:xfrm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8D65EB00-97DD-B583-3A9B-2038CFBDBFE9}"/>
                    </a:ext>
                  </a:extLst>
                </p:cNvPr>
                <p:cNvSpPr/>
                <p:nvPr/>
              </p:nvSpPr>
              <p:spPr>
                <a:xfrm>
                  <a:off x="822042" y="2746661"/>
                  <a:ext cx="1350170" cy="135017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600" b="1" dirty="0">
                      <a:solidFill>
                        <a:schemeClr val="bg1"/>
                      </a:solidFill>
                      <a:latin typeface="Arial" panose="020B0604020202020204" pitchFamily="34" charset="0"/>
                    </a:rPr>
                    <a:t>02</a:t>
                  </a:r>
                </a:p>
              </p:txBody>
            </p:sp>
            <p:grpSp>
              <p:nvGrpSpPr>
                <p:cNvPr id="8" name="Group 7">
                  <a:extLst>
                    <a:ext uri="{FF2B5EF4-FFF2-40B4-BE49-F238E27FC236}">
                      <a16:creationId xmlns:a16="http://schemas.microsoft.com/office/drawing/2014/main" id="{4A5D467D-6951-7F87-93E3-7D040B0BEF67}"/>
                    </a:ext>
                  </a:extLst>
                </p:cNvPr>
                <p:cNvGrpSpPr/>
                <p:nvPr/>
              </p:nvGrpSpPr>
              <p:grpSpPr>
                <a:xfrm>
                  <a:off x="2423460" y="3013361"/>
                  <a:ext cx="6242010" cy="2380804"/>
                  <a:chOff x="2423460" y="3013361"/>
                  <a:chExt cx="6242010" cy="2380804"/>
                </a:xfrm>
              </p:grpSpPr>
              <p:sp>
                <p:nvSpPr>
                  <p:cNvPr id="9" name="Google Shape;598;p33">
                    <a:extLst>
                      <a:ext uri="{FF2B5EF4-FFF2-40B4-BE49-F238E27FC236}">
                        <a16:creationId xmlns:a16="http://schemas.microsoft.com/office/drawing/2014/main" id="{0AADB633-9A77-2977-E04B-B2937BCC8881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2423460" y="3013361"/>
                    <a:ext cx="6242010" cy="35394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t" anchorCtr="0">
                    <a:sp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chivo Black"/>
                      <a:buNone/>
                      <a:defRPr sz="2000" b="0" i="0" u="none" strike="noStrike" cap="none">
                        <a:solidFill>
                          <a:schemeClr val="dk1"/>
                        </a:solidFill>
                        <a:latin typeface="Archivo Black"/>
                        <a:ea typeface="Archivo Black"/>
                        <a:cs typeface="Archivo Black"/>
                        <a:sym typeface="Archivo Black"/>
                      </a:defRPr>
                    </a:lvl1pPr>
                    <a:lvl2pPr marR="0" lvl="1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defTabSz="1371600">
                      <a:lnSpc>
                        <a:spcPct val="90000"/>
                      </a:lnSpc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151F29"/>
                      </a:buClr>
                      <a:defRPr/>
                    </a:pPr>
                    <a:r>
                      <a:rPr lang="en-IN" b="1" kern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Heading</a:t>
                    </a:r>
                  </a:p>
                </p:txBody>
              </p:sp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E18D0749-9D29-DEC1-4162-CBDA954D3810}"/>
                      </a:ext>
                    </a:extLst>
                  </p:cNvPr>
                  <p:cNvSpPr txBox="1"/>
                  <p:nvPr/>
                </p:nvSpPr>
                <p:spPr>
                  <a:xfrm>
                    <a:off x="2423460" y="3470561"/>
                    <a:ext cx="6242010" cy="192360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</p:txBody>
              </p:sp>
            </p:grp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44FFF0B-EF72-71BF-91BB-CFD7336E2EDD}"/>
                </a:ext>
              </a:extLst>
            </p:cNvPr>
            <p:cNvGrpSpPr/>
            <p:nvPr/>
          </p:nvGrpSpPr>
          <p:grpSpPr>
            <a:xfrm>
              <a:off x="977900" y="5829300"/>
              <a:ext cx="16370300" cy="2647504"/>
              <a:chOff x="977900" y="2819400"/>
              <a:chExt cx="16370300" cy="2647504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B6EF6B26-80CF-E868-96D9-7DDFA6EAC2B1}"/>
                  </a:ext>
                </a:extLst>
              </p:cNvPr>
              <p:cNvGrpSpPr/>
              <p:nvPr/>
            </p:nvGrpSpPr>
            <p:grpSpPr>
              <a:xfrm>
                <a:off x="977900" y="2819400"/>
                <a:ext cx="7843428" cy="2647504"/>
                <a:chOff x="822042" y="2746661"/>
                <a:chExt cx="7843428" cy="2647504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FF2A7F13-E80B-E0D9-4CA2-94FD1B05388C}"/>
                    </a:ext>
                  </a:extLst>
                </p:cNvPr>
                <p:cNvSpPr/>
                <p:nvPr/>
              </p:nvSpPr>
              <p:spPr>
                <a:xfrm>
                  <a:off x="822042" y="2746661"/>
                  <a:ext cx="1350170" cy="135017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600" b="1" dirty="0">
                      <a:solidFill>
                        <a:schemeClr val="bg1"/>
                      </a:solidFill>
                      <a:latin typeface="Arial" panose="020B0604020202020204" pitchFamily="34" charset="0"/>
                    </a:rPr>
                    <a:t>03</a:t>
                  </a:r>
                </a:p>
              </p:txBody>
            </p: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E38EAD49-4A19-F831-822F-4C46795D2B15}"/>
                    </a:ext>
                  </a:extLst>
                </p:cNvPr>
                <p:cNvGrpSpPr/>
                <p:nvPr/>
              </p:nvGrpSpPr>
              <p:grpSpPr>
                <a:xfrm>
                  <a:off x="2423460" y="3013361"/>
                  <a:ext cx="6242010" cy="2380804"/>
                  <a:chOff x="2423460" y="3013361"/>
                  <a:chExt cx="6242010" cy="2380804"/>
                </a:xfrm>
              </p:grpSpPr>
              <p:sp>
                <p:nvSpPr>
                  <p:cNvPr id="38" name="Google Shape;598;p33">
                    <a:extLst>
                      <a:ext uri="{FF2B5EF4-FFF2-40B4-BE49-F238E27FC236}">
                        <a16:creationId xmlns:a16="http://schemas.microsoft.com/office/drawing/2014/main" id="{CABFB65E-BAE6-8F50-52EA-F75784CCAAD5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2423460" y="3013361"/>
                    <a:ext cx="6242010" cy="35394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t" anchorCtr="0">
                    <a:sp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chivo Black"/>
                      <a:buNone/>
                      <a:defRPr sz="2000" b="0" i="0" u="none" strike="noStrike" cap="none">
                        <a:solidFill>
                          <a:schemeClr val="dk1"/>
                        </a:solidFill>
                        <a:latin typeface="Archivo Black"/>
                        <a:ea typeface="Archivo Black"/>
                        <a:cs typeface="Archivo Black"/>
                        <a:sym typeface="Archivo Black"/>
                      </a:defRPr>
                    </a:lvl1pPr>
                    <a:lvl2pPr marR="0" lvl="1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defTabSz="1371600">
                      <a:lnSpc>
                        <a:spcPct val="90000"/>
                      </a:lnSpc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151F29"/>
                      </a:buClr>
                      <a:defRPr/>
                    </a:pPr>
                    <a:r>
                      <a:rPr lang="en-IN" b="1" kern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Heading</a:t>
                    </a:r>
                  </a:p>
                </p:txBody>
              </p:sp>
              <p:sp>
                <p:nvSpPr>
                  <p:cNvPr id="39" name="TextBox 38">
                    <a:extLst>
                      <a:ext uri="{FF2B5EF4-FFF2-40B4-BE49-F238E27FC236}">
                        <a16:creationId xmlns:a16="http://schemas.microsoft.com/office/drawing/2014/main" id="{9EC3FFFE-B16C-5BD4-10C0-140572D19574}"/>
                      </a:ext>
                    </a:extLst>
                  </p:cNvPr>
                  <p:cNvSpPr txBox="1"/>
                  <p:nvPr/>
                </p:nvSpPr>
                <p:spPr>
                  <a:xfrm>
                    <a:off x="2423460" y="3470561"/>
                    <a:ext cx="6242010" cy="192360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</p:txBody>
              </p:sp>
            </p:grp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48E9AFD-EB4D-F892-977D-C721A15F280B}"/>
                  </a:ext>
                </a:extLst>
              </p:cNvPr>
              <p:cNvGrpSpPr/>
              <p:nvPr/>
            </p:nvGrpSpPr>
            <p:grpSpPr>
              <a:xfrm>
                <a:off x="9504772" y="2819400"/>
                <a:ext cx="7843428" cy="2647504"/>
                <a:chOff x="822042" y="2746661"/>
                <a:chExt cx="7843428" cy="2647504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BBDBC0A7-0564-86B2-6E9B-D8FC3687D29C}"/>
                    </a:ext>
                  </a:extLst>
                </p:cNvPr>
                <p:cNvSpPr/>
                <p:nvPr/>
              </p:nvSpPr>
              <p:spPr>
                <a:xfrm>
                  <a:off x="822042" y="2746661"/>
                  <a:ext cx="1350170" cy="135017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600" b="1" dirty="0">
                      <a:solidFill>
                        <a:schemeClr val="bg1"/>
                      </a:solidFill>
                      <a:latin typeface="Arial" panose="020B0604020202020204" pitchFamily="34" charset="0"/>
                    </a:rPr>
                    <a:t>04</a:t>
                  </a:r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7BE18D17-07A6-3825-1BCB-1BBCD67197C9}"/>
                    </a:ext>
                  </a:extLst>
                </p:cNvPr>
                <p:cNvGrpSpPr/>
                <p:nvPr/>
              </p:nvGrpSpPr>
              <p:grpSpPr>
                <a:xfrm>
                  <a:off x="2423460" y="3013361"/>
                  <a:ext cx="6242010" cy="2380804"/>
                  <a:chOff x="2423460" y="3013361"/>
                  <a:chExt cx="6242010" cy="2380804"/>
                </a:xfrm>
              </p:grpSpPr>
              <p:sp>
                <p:nvSpPr>
                  <p:cNvPr id="20" name="Google Shape;598;p33">
                    <a:extLst>
                      <a:ext uri="{FF2B5EF4-FFF2-40B4-BE49-F238E27FC236}">
                        <a16:creationId xmlns:a16="http://schemas.microsoft.com/office/drawing/2014/main" id="{5C4B7ED8-2CCF-5176-8688-4F621ADDD9CC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2423460" y="3013361"/>
                    <a:ext cx="6242010" cy="35394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t" anchorCtr="0">
                    <a:sp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chivo Black"/>
                      <a:buNone/>
                      <a:defRPr sz="2000" b="0" i="0" u="none" strike="noStrike" cap="none">
                        <a:solidFill>
                          <a:schemeClr val="dk1"/>
                        </a:solidFill>
                        <a:latin typeface="Archivo Black"/>
                        <a:ea typeface="Archivo Black"/>
                        <a:cs typeface="Archivo Black"/>
                        <a:sym typeface="Archivo Black"/>
                      </a:defRPr>
                    </a:lvl1pPr>
                    <a:lvl2pPr marR="0" lvl="1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  <a:defRPr sz="1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defTabSz="1371600">
                      <a:lnSpc>
                        <a:spcPct val="90000"/>
                      </a:lnSpc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151F29"/>
                      </a:buClr>
                      <a:defRPr/>
                    </a:pPr>
                    <a:r>
                      <a:rPr lang="en-IN" b="1" kern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Heading</a:t>
                    </a:r>
                  </a:p>
                </p:txBody>
              </p:sp>
              <p:sp>
                <p:nvSpPr>
                  <p:cNvPr id="21" name="TextBox 20">
                    <a:extLst>
                      <a:ext uri="{FF2B5EF4-FFF2-40B4-BE49-F238E27FC236}">
                        <a16:creationId xmlns:a16="http://schemas.microsoft.com/office/drawing/2014/main" id="{CED5664C-C2F9-D1E9-F1F0-7781CD4E2ABD}"/>
                      </a:ext>
                    </a:extLst>
                  </p:cNvPr>
                  <p:cNvSpPr txBox="1"/>
                  <p:nvPr/>
                </p:nvSpPr>
                <p:spPr>
                  <a:xfrm>
                    <a:off x="2423460" y="3470561"/>
                    <a:ext cx="6242010" cy="192360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  <a:p>
                    <a:pPr marL="228600" indent="-22860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chemeClr val="accent1"/>
                      </a:buClr>
                      <a:buSzPct val="100000"/>
                      <a:buFont typeface="Symbol" panose="05050102010706020507" pitchFamily="18" charset="2"/>
                      <a:buChar char=""/>
                    </a:pPr>
                    <a:r>
                      <a:rPr lang="en-US" altLang="ko-KR" sz="20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a:t>Lorem Ipsum is simply dummy text of the printing and typesetting industry. Lorem Ipsum has been the industry's standard dummy text</a:t>
                    </a:r>
                  </a:p>
                </p:txBody>
              </p:sp>
            </p:grpSp>
          </p:grpSp>
        </p:grpSp>
      </p:grp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A8C63A8B-E4BA-1772-6767-3B057D99C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696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5</TotalTime>
  <Words>189</Words>
  <Application>Microsoft Office PowerPoint</Application>
  <PresentationFormat>Custom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Discussion Points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7</cp:revision>
  <dcterms:created xsi:type="dcterms:W3CDTF">2006-08-16T00:00:00Z</dcterms:created>
  <dcterms:modified xsi:type="dcterms:W3CDTF">2025-10-06T09:49:54Z</dcterms:modified>
  <cp:category/>
  <dc:identifier>DAGkDf5R9EM</dc:identifier>
</cp:coreProperties>
</file>